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7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79-42D1-B78F-07E017537D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79-42D1-B78F-07E017537D7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79-42D1-B78F-07E017537D7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2730256"/>
        <c:axId val="952734096"/>
      </c:barChart>
      <c:catAx>
        <c:axId val="95273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4096"/>
        <c:crosses val="autoZero"/>
        <c:auto val="1"/>
        <c:lblAlgn val="ctr"/>
        <c:lblOffset val="100"/>
        <c:noMultiLvlLbl val="0"/>
      </c:catAx>
      <c:valAx>
        <c:axId val="9527340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0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5529C-BE7B-EC05-5B6D-7553C2102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29154-3531-F54F-AFEE-5A8D5A19A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ed Data &amp; Insight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E489CA2-FB12-7B1D-7651-169606C7DB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2397097"/>
            <a:ext cx="8201025" cy="7325576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EA8F6562-1468-4820-818A-506F8299E82B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502762"/>
          <a:ext cx="8201025" cy="6712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789D3C-1283-66A1-58C3-3E4B0784B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497E4034-8E5A-6318-8C86-166ABE3E5E75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260C69F2-7B53-62EC-46A2-6FAECAF14637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653973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5</TotalTime>
  <Words>217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lanced Data &amp; Insights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2</cp:revision>
  <dcterms:created xsi:type="dcterms:W3CDTF">2006-08-16T00:00:00Z</dcterms:created>
  <dcterms:modified xsi:type="dcterms:W3CDTF">2025-10-06T09:07:58Z</dcterms:modified>
  <cp:category/>
  <dc:identifier>DAGkDf5R9EM</dc:identifier>
</cp:coreProperties>
</file>